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63" d="100"/>
          <a:sy n="63" d="100"/>
        </p:scale>
        <p:origin x="153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7/09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                  </a:t>
            </a:r>
            <a:r>
              <a:rPr lang="en-GB" sz="1400" b="1" dirty="0" err="1"/>
              <a:t>Demoti</a:t>
            </a:r>
            <a:r>
              <a:rPr lang="en-GB" sz="1400" b="1" dirty="0"/>
              <a:t> Ravi Chandra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</a:p>
          <a:p>
            <a:pPr algn="ctr"/>
            <a:r>
              <a:rPr lang="en-GB" sz="1050" b="1" dirty="0">
                <a:solidFill>
                  <a:schemeClr val="tx1"/>
                </a:solidFill>
              </a:rPr>
              <a:t>$876,330,011.48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606672" y="1239116"/>
            <a:ext cx="1706245" cy="57647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rivate Water Hedge Sale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376,000,833.4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4" y="5215408"/>
            <a:ext cx="1706245" cy="591032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206,274,408.76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847850" y="1527356"/>
            <a:ext cx="758822" cy="183338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847850" y="3360737"/>
            <a:ext cx="758824" cy="2150187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2" y="3158820"/>
            <a:ext cx="1706245" cy="57648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ublic sale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294,054,769.27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2000250" cy="4701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– Soft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135,345,721.3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2000250" cy="4701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240,655,112.1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7"/>
            <a:ext cx="2000250" cy="47014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– Soft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102,931,849.75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20002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– Hard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191,122,919.5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20002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– Soft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206,274,408.76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cxnSpLocks/>
            <a:stCxn id="5" idx="3"/>
            <a:endCxn id="25" idx="1"/>
          </p:cNvCxnSpPr>
          <p:nvPr/>
        </p:nvCxnSpPr>
        <p:spPr>
          <a:xfrm flipV="1">
            <a:off x="4312917" y="999356"/>
            <a:ext cx="665483" cy="52800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cxnSpLocks/>
            <a:stCxn id="5" idx="3"/>
            <a:endCxn id="26" idx="1"/>
          </p:cNvCxnSpPr>
          <p:nvPr/>
        </p:nvCxnSpPr>
        <p:spPr>
          <a:xfrm>
            <a:off x="4312917" y="1527356"/>
            <a:ext cx="665483" cy="76325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27" idx="1"/>
          </p:cNvCxnSpPr>
          <p:nvPr/>
        </p:nvCxnSpPr>
        <p:spPr>
          <a:xfrm flipV="1">
            <a:off x="4312917" y="2939852"/>
            <a:ext cx="665483" cy="50720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>
            <a:off x="4312917" y="3447060"/>
            <a:ext cx="665483" cy="64844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cxnSpLocks/>
            <a:stCxn id="6" idx="3"/>
            <a:endCxn id="29" idx="1"/>
          </p:cNvCxnSpPr>
          <p:nvPr/>
        </p:nvCxnSpPr>
        <p:spPr>
          <a:xfrm>
            <a:off x="4312919" y="5510924"/>
            <a:ext cx="665481" cy="68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662D2B7-41DC-411D-9839-C695C15D515E}"/>
              </a:ext>
            </a:extLst>
          </p:cNvPr>
          <p:cNvCxnSpPr>
            <a:stCxn id="46" idx="6"/>
          </p:cNvCxnSpPr>
          <p:nvPr/>
        </p:nvCxnSpPr>
        <p:spPr>
          <a:xfrm>
            <a:off x="2338598" y="3341943"/>
            <a:ext cx="268074" cy="1879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57074033-5BA8-43F9-94BB-0A481785C6B7}"/>
              </a:ext>
            </a:extLst>
          </p:cNvPr>
          <p:cNvSpPr/>
          <p:nvPr/>
        </p:nvSpPr>
        <p:spPr>
          <a:xfrm>
            <a:off x="4508093" y="136128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34A5749D-7799-4EC8-80F9-3C5F1430803F}"/>
              </a:ext>
            </a:extLst>
          </p:cNvPr>
          <p:cNvSpPr/>
          <p:nvPr/>
        </p:nvSpPr>
        <p:spPr>
          <a:xfrm>
            <a:off x="4508092" y="3261252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30</TotalTime>
  <Words>72</Words>
  <Application>Microsoft Office PowerPoint</Application>
  <PresentationFormat>Custom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Revenue Value Driver Tree                  Demoti Ravi Chandr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Ravi Chandra.dcp</cp:lastModifiedBy>
  <cp:revision>37</cp:revision>
  <dcterms:created xsi:type="dcterms:W3CDTF">2020-04-12T13:23:13Z</dcterms:created>
  <dcterms:modified xsi:type="dcterms:W3CDTF">2020-09-17T10:26:43Z</dcterms:modified>
</cp:coreProperties>
</file>